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16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A5A5A"/>
    <a:srgbClr val="8D8D8D"/>
    <a:srgbClr val="C60018"/>
    <a:srgbClr val="444444"/>
    <a:srgbClr val="F6F6F6"/>
    <a:srgbClr val="E5E5E5"/>
    <a:srgbClr val="A8A8A8"/>
    <a:srgbClr val="BDBDBD"/>
    <a:srgbClr val="727272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9" d="100"/>
          <a:sy n="119" d="100"/>
        </p:scale>
        <p:origin x="156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AE727E4-6F43-44DC-80B3-36DB1D4310CD}"/>
    <pc:docChg chg="custSel addSld delSld modSld">
      <pc:chgData name="Meyer Raphael (PAR-ES)" userId="79615dfe-ed48-4e74-a40f-4f7b034c1c27" providerId="ADAL" clId="{6AE727E4-6F43-44DC-80B3-36DB1D4310CD}" dt="2022-03-03T13:44:37.218" v="37" actId="2890"/>
      <pc:docMkLst>
        <pc:docMk/>
      </pc:docMkLst>
      <pc:sldChg chg="addSp delSp modSp mod">
        <pc:chgData name="Meyer Raphael (PAR-ES)" userId="79615dfe-ed48-4e74-a40f-4f7b034c1c27" providerId="ADAL" clId="{6AE727E4-6F43-44DC-80B3-36DB1D4310CD}" dt="2022-03-03T13:43:39.923" v="33" actId="692"/>
        <pc:sldMkLst>
          <pc:docMk/>
          <pc:sldMk cId="3808035539" sldId="270"/>
        </pc:sldMkLst>
        <pc:spChg chg="del">
          <ac:chgData name="Meyer Raphael (PAR-ES)" userId="79615dfe-ed48-4e74-a40f-4f7b034c1c27" providerId="ADAL" clId="{6AE727E4-6F43-44DC-80B3-36DB1D4310CD}" dt="2022-03-03T13:37:54.951" v="8" actId="478"/>
          <ac:spMkLst>
            <pc:docMk/>
            <pc:sldMk cId="3808035539" sldId="270"/>
            <ac:spMk id="3" creationId="{00000000-0000-0000-0000-000000000000}"/>
          </ac:spMkLst>
        </pc:spChg>
        <pc:spChg chg="del">
          <ac:chgData name="Meyer Raphael (PAR-ES)" userId="79615dfe-ed48-4e74-a40f-4f7b034c1c27" providerId="ADAL" clId="{6AE727E4-6F43-44DC-80B3-36DB1D4310CD}" dt="2022-03-03T13:37:52.046" v="7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6AE727E4-6F43-44DC-80B3-36DB1D4310CD}" dt="2022-03-03T13:36:54.987" v="2"/>
          <ac:spMkLst>
            <pc:docMk/>
            <pc:sldMk cId="3808035539" sldId="270"/>
            <ac:spMk id="11" creationId="{C872468D-648C-44F5-8DF7-75B41720E3E9}"/>
          </ac:spMkLst>
        </pc:spChg>
        <pc:spChg chg="add mod">
          <ac:chgData name="Meyer Raphael (PAR-ES)" userId="79615dfe-ed48-4e74-a40f-4f7b034c1c27" providerId="ADAL" clId="{6AE727E4-6F43-44DC-80B3-36DB1D4310CD}" dt="2022-03-03T13:37:39.851" v="6" actId="20577"/>
          <ac:spMkLst>
            <pc:docMk/>
            <pc:sldMk cId="3808035539" sldId="270"/>
            <ac:spMk id="12" creationId="{5951AA1F-1F78-4199-A377-9885C86C21AF}"/>
          </ac:spMkLst>
        </pc:spChg>
        <pc:spChg chg="add mod">
          <ac:chgData name="Meyer Raphael (PAR-ES)" userId="79615dfe-ed48-4e74-a40f-4f7b034c1c27" providerId="ADAL" clId="{6AE727E4-6F43-44DC-80B3-36DB1D4310CD}" dt="2022-03-03T13:39:32.361" v="15"/>
          <ac:spMkLst>
            <pc:docMk/>
            <pc:sldMk cId="3808035539" sldId="270"/>
            <ac:spMk id="13" creationId="{529F12DD-D362-4327-A51F-7014752CAD03}"/>
          </ac:spMkLst>
        </pc:spChg>
        <pc:graphicFrameChg chg="mod">
          <ac:chgData name="Meyer Raphael (PAR-ES)" userId="79615dfe-ed48-4e74-a40f-4f7b034c1c27" providerId="ADAL" clId="{6AE727E4-6F43-44DC-80B3-36DB1D4310CD}" dt="2022-03-03T13:43:39.923" v="33" actId="692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del">
          <ac:chgData name="Meyer Raphael (PAR-ES)" userId="79615dfe-ed48-4e74-a40f-4f7b034c1c27" providerId="ADAL" clId="{6AE727E4-6F43-44DC-80B3-36DB1D4310CD}" dt="2022-03-03T13:39:44.942" v="16" actId="478"/>
          <ac:cxnSpMkLst>
            <pc:docMk/>
            <pc:sldMk cId="3808035539" sldId="270"/>
            <ac:cxnSpMk id="6" creationId="{00000000-0000-0000-0000-000000000000}"/>
          </ac:cxnSpMkLst>
        </pc:cxnChg>
        <pc:cxnChg chg="del">
          <ac:chgData name="Meyer Raphael (PAR-ES)" userId="79615dfe-ed48-4e74-a40f-4f7b034c1c27" providerId="ADAL" clId="{6AE727E4-6F43-44DC-80B3-36DB1D4310CD}" dt="2022-03-03T13:40:44.423" v="28" actId="478"/>
          <ac:cxnSpMkLst>
            <pc:docMk/>
            <pc:sldMk cId="3808035539" sldId="270"/>
            <ac:cxnSpMk id="8" creationId="{11B600A0-14BD-4B20-9F81-BA2BC862A1DB}"/>
          </ac:cxnSpMkLst>
        </pc:cxnChg>
      </pc:sldChg>
      <pc:sldChg chg="add">
        <pc:chgData name="Meyer Raphael (PAR-ES)" userId="79615dfe-ed48-4e74-a40f-4f7b034c1c27" providerId="ADAL" clId="{6AE727E4-6F43-44DC-80B3-36DB1D4310CD}" dt="2022-03-03T13:44:34.313" v="35" actId="2890"/>
        <pc:sldMkLst>
          <pc:docMk/>
          <pc:sldMk cId="421447817" sldId="271"/>
        </pc:sldMkLst>
      </pc:sldChg>
      <pc:sldChg chg="add">
        <pc:chgData name="Meyer Raphael (PAR-ES)" userId="79615dfe-ed48-4e74-a40f-4f7b034c1c27" providerId="ADAL" clId="{6AE727E4-6F43-44DC-80B3-36DB1D4310CD}" dt="2022-03-03T13:44:36.416" v="36" actId="2890"/>
        <pc:sldMkLst>
          <pc:docMk/>
          <pc:sldMk cId="1823063743" sldId="272"/>
        </pc:sldMkLst>
      </pc:sldChg>
      <pc:sldChg chg="add">
        <pc:chgData name="Meyer Raphael (PAR-ES)" userId="79615dfe-ed48-4e74-a40f-4f7b034c1c27" providerId="ADAL" clId="{6AE727E4-6F43-44DC-80B3-36DB1D4310CD}" dt="2022-03-03T13:44:37.218" v="37" actId="2890"/>
        <pc:sldMkLst>
          <pc:docMk/>
          <pc:sldMk cId="3044751883" sldId="273"/>
        </pc:sldMkLst>
      </pc:sldChg>
      <pc:sldChg chg="del">
        <pc:chgData name="Meyer Raphael (PAR-ES)" userId="79615dfe-ed48-4e74-a40f-4f7b034c1c27" providerId="ADAL" clId="{6AE727E4-6F43-44DC-80B3-36DB1D4310CD}" dt="2022-03-03T13:44:22.569" v="34" actId="47"/>
        <pc:sldMkLst>
          <pc:docMk/>
          <pc:sldMk cId="1708932620" sldId="407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1116898475" sldId="408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3294247987" sldId="409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4577BD7A-B925-4D44-B4E6-4E102F834CDD}"/>
    <pc:docChg chg="custSel addSld delSld modSld">
      <pc:chgData name="Meyer Raphael (PAR-ES)" userId="79615dfe-ed48-4e74-a40f-4f7b034c1c27" providerId="ADAL" clId="{4577BD7A-B925-4D44-B4E6-4E102F834CDD}" dt="2022-03-09T16:53:37.470" v="27" actId="27918"/>
      <pc:docMkLst>
        <pc:docMk/>
      </pc:docMkLst>
      <pc:sldChg chg="del">
        <pc:chgData name="Meyer Raphael (PAR-ES)" userId="79615dfe-ed48-4e74-a40f-4f7b034c1c27" providerId="ADAL" clId="{4577BD7A-B925-4D44-B4E6-4E102F834CDD}" dt="2022-03-09T16:50:27.193" v="0" actId="47"/>
        <pc:sldMkLst>
          <pc:docMk/>
          <pc:sldMk cId="2820921500" sldId="408"/>
        </pc:sldMkLst>
      </pc:sldChg>
      <pc:sldChg chg="modSp add mod">
        <pc:chgData name="Meyer Raphael (PAR-ES)" userId="79615dfe-ed48-4e74-a40f-4f7b034c1c27" providerId="ADAL" clId="{4577BD7A-B925-4D44-B4E6-4E102F834CDD}" dt="2022-03-09T16:51:37.832" v="7" actId="27918"/>
        <pc:sldMkLst>
          <pc:docMk/>
          <pc:sldMk cId="2093749923" sldId="417"/>
        </pc:sldMkLst>
        <pc:spChg chg="mod">
          <ac:chgData name="Meyer Raphael (PAR-ES)" userId="79615dfe-ed48-4e74-a40f-4f7b034c1c27" providerId="ADAL" clId="{4577BD7A-B925-4D44-B4E6-4E102F834CDD}" dt="2022-03-09T16:51:21.933" v="4"/>
          <ac:spMkLst>
            <pc:docMk/>
            <pc:sldMk cId="2093749923" sldId="417"/>
            <ac:spMk id="10" creationId="{A572A723-7466-42C5-BC49-15C6E380BE11}"/>
          </ac:spMkLst>
        </pc:spChg>
      </pc:sldChg>
      <pc:sldChg chg="modSp add mod">
        <pc:chgData name="Meyer Raphael (PAR-ES)" userId="79615dfe-ed48-4e74-a40f-4f7b034c1c27" providerId="ADAL" clId="{4577BD7A-B925-4D44-B4E6-4E102F834CDD}" dt="2022-03-09T16:52:37.799" v="17" actId="27918"/>
        <pc:sldMkLst>
          <pc:docMk/>
          <pc:sldMk cId="540201100" sldId="418"/>
        </pc:sldMkLst>
        <pc:spChg chg="mod">
          <ac:chgData name="Meyer Raphael (PAR-ES)" userId="79615dfe-ed48-4e74-a40f-4f7b034c1c27" providerId="ADAL" clId="{4577BD7A-B925-4D44-B4E6-4E102F834CDD}" dt="2022-03-09T16:52:22.281" v="8"/>
          <ac:spMkLst>
            <pc:docMk/>
            <pc:sldMk cId="540201100" sldId="418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4577BD7A-B925-4D44-B4E6-4E102F834CDD}" dt="2022-03-09T16:52:28.387" v="14" actId="20577"/>
          <ac:spMkLst>
            <pc:docMk/>
            <pc:sldMk cId="540201100" sldId="418"/>
            <ac:spMk id="12" creationId="{1A4657D7-3337-475E-8E67-E8F468A949AF}"/>
          </ac:spMkLst>
        </pc:spChg>
      </pc:sldChg>
      <pc:sldChg chg="modSp add mod">
        <pc:chgData name="Meyer Raphael (PAR-ES)" userId="79615dfe-ed48-4e74-a40f-4f7b034c1c27" providerId="ADAL" clId="{4577BD7A-B925-4D44-B4E6-4E102F834CDD}" dt="2022-03-09T16:53:37.470" v="27" actId="27918"/>
        <pc:sldMkLst>
          <pc:docMk/>
          <pc:sldMk cId="2562932273" sldId="419"/>
        </pc:sldMkLst>
        <pc:spChg chg="mod">
          <ac:chgData name="Meyer Raphael (PAR-ES)" userId="79615dfe-ed48-4e74-a40f-4f7b034c1c27" providerId="ADAL" clId="{4577BD7A-B925-4D44-B4E6-4E102F834CDD}" dt="2022-03-09T16:53:15.419" v="18"/>
          <ac:spMkLst>
            <pc:docMk/>
            <pc:sldMk cId="2562932273" sldId="419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4577BD7A-B925-4D44-B4E6-4E102F834CDD}" dt="2022-03-09T16:53:23.975" v="24" actId="20577"/>
          <ac:spMkLst>
            <pc:docMk/>
            <pc:sldMk cId="2562932273" sldId="419"/>
            <ac:spMk id="12" creationId="{1A4657D7-3337-475E-8E67-E8F468A949AF}"/>
          </ac:spMkLst>
        </pc:sp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75F503BF-EF6F-4C78-914B-E7D0905D12FD}"/>
    <pc:docChg chg="delSld">
      <pc:chgData name="Meyer Raphael (PAR-ES)" userId="79615dfe-ed48-4e74-a40f-4f7b034c1c27" providerId="ADAL" clId="{75F503BF-EF6F-4C78-914B-E7D0905D12FD}" dt="2022-03-09T16:59:52.793" v="0" actId="47"/>
      <pc:docMkLst>
        <pc:docMk/>
      </pc:docMkLst>
      <pc:sldChg chg="del">
        <pc:chgData name="Meyer Raphael (PAR-ES)" userId="79615dfe-ed48-4e74-a40f-4f7b034c1c27" providerId="ADAL" clId="{75F503BF-EF6F-4C78-914B-E7D0905D12FD}" dt="2022-03-09T16:59:52.793" v="0" actId="47"/>
        <pc:sldMkLst>
          <pc:docMk/>
          <pc:sldMk cId="2093749923" sldId="417"/>
        </pc:sldMkLst>
      </pc:sldChg>
      <pc:sldChg chg="del">
        <pc:chgData name="Meyer Raphael (PAR-ES)" userId="79615dfe-ed48-4e74-a40f-4f7b034c1c27" providerId="ADAL" clId="{75F503BF-EF6F-4C78-914B-E7D0905D12FD}" dt="2022-03-09T16:59:52.793" v="0" actId="47"/>
        <pc:sldMkLst>
          <pc:docMk/>
          <pc:sldMk cId="540201100" sldId="418"/>
        </pc:sldMkLst>
      </pc:sldChg>
      <pc:sldChg chg="del">
        <pc:chgData name="Meyer Raphael (PAR-ES)" userId="79615dfe-ed48-4e74-a40f-4f7b034c1c27" providerId="ADAL" clId="{75F503BF-EF6F-4C78-914B-E7D0905D12FD}" dt="2022-03-09T16:59:52.793" v="0" actId="47"/>
        <pc:sldMkLst>
          <pc:docMk/>
          <pc:sldMk cId="2562932273" sldId="419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74587FB8-B2BD-4F09-88B8-92B765731C3A}"/>
    <pc:docChg chg="addSld delSld modSld">
      <pc:chgData name="Meyer Raphael (PAR-ES)" userId="79615dfe-ed48-4e74-a40f-4f7b034c1c27" providerId="ADAL" clId="{74587FB8-B2BD-4F09-88B8-92B765731C3A}" dt="2022-02-21T15:28:35.598" v="17" actId="27918"/>
      <pc:docMkLst>
        <pc:docMk/>
      </pc:docMkLst>
      <pc:sldChg chg="del">
        <pc:chgData name="Meyer Raphael (PAR-ES)" userId="79615dfe-ed48-4e74-a40f-4f7b034c1c27" providerId="ADAL" clId="{74587FB8-B2BD-4F09-88B8-92B765731C3A}" dt="2022-02-21T15:26:29.272" v="0" actId="47"/>
        <pc:sldMkLst>
          <pc:docMk/>
          <pc:sldMk cId="943556213" sldId="406"/>
        </pc:sldMkLst>
      </pc:sldChg>
      <pc:sldChg chg="modSp add mod">
        <pc:chgData name="Meyer Raphael (PAR-ES)" userId="79615dfe-ed48-4e74-a40f-4f7b034c1c27" providerId="ADAL" clId="{74587FB8-B2BD-4F09-88B8-92B765731C3A}" dt="2022-02-21T15:28:35.598" v="17" actId="27918"/>
        <pc:sldMkLst>
          <pc:docMk/>
          <pc:sldMk cId="1116898475" sldId="408"/>
        </pc:sldMkLst>
        <pc:spChg chg="mod">
          <ac:chgData name="Meyer Raphael (PAR-ES)" userId="79615dfe-ed48-4e74-a40f-4f7b034c1c27" providerId="ADAL" clId="{74587FB8-B2BD-4F09-88B8-92B765731C3A}" dt="2022-02-21T15:27:24.683" v="6" actId="20577"/>
          <ac:spMkLst>
            <pc:docMk/>
            <pc:sldMk cId="1116898475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4587FB8-B2BD-4F09-88B8-92B765731C3A}" dt="2022-02-21T15:27:44.854" v="7"/>
          <ac:spMkLst>
            <pc:docMk/>
            <pc:sldMk cId="1116898475" sldId="408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74587FB8-B2BD-4F09-88B8-92B765731C3A}" dt="2022-02-21T15:27:58.044" v="14" actId="20577"/>
          <ac:spMkLst>
            <pc:docMk/>
            <pc:sldMk cId="1116898475" sldId="408"/>
            <ac:spMk id="8" creationId="{06532336-43AE-43F1-8B99-299E3E2FB919}"/>
          </ac:spMkLst>
        </pc:spChg>
      </pc:sldChg>
      <pc:sldChg chg="add">
        <pc:chgData name="Meyer Raphael (PAR-ES)" userId="79615dfe-ed48-4e74-a40f-4f7b034c1c27" providerId="ADAL" clId="{74587FB8-B2BD-4F09-88B8-92B765731C3A}" dt="2022-02-21T15:26:47.999" v="2" actId="2890"/>
        <pc:sldMkLst>
          <pc:docMk/>
          <pc:sldMk cId="3294247987" sldId="409"/>
        </pc:sldMkLst>
      </pc:sldChg>
      <pc:sldChg chg="add">
        <pc:chgData name="Meyer Raphael (PAR-ES)" userId="79615dfe-ed48-4e74-a40f-4f7b034c1c27" providerId="ADAL" clId="{74587FB8-B2BD-4F09-88B8-92B765731C3A}" dt="2022-02-21T15:26:48.748" v="3" actId="2890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DB5BE36-76E7-4528-A0DC-EC31C0774D59}"/>
    <pc:docChg chg="custSel modSld">
      <pc:chgData name="Meyer Raphael (PAR-ES)" userId="79615dfe-ed48-4e74-a40f-4f7b034c1c27" providerId="ADAL" clId="{ADB5BE36-76E7-4528-A0DC-EC31C0774D59}" dt="2022-02-22T13:41:57.468" v="49" actId="27918"/>
      <pc:docMkLst>
        <pc:docMk/>
      </pc:docMkLst>
      <pc:sldChg chg="modSp mod">
        <pc:chgData name="Meyer Raphael (PAR-ES)" userId="79615dfe-ed48-4e74-a40f-4f7b034c1c27" providerId="ADAL" clId="{ADB5BE36-76E7-4528-A0DC-EC31C0774D59}" dt="2022-02-22T13:40:11.159" v="25" actId="20577"/>
        <pc:sldMkLst>
          <pc:docMk/>
          <pc:sldMk cId="3294247987" sldId="409"/>
        </pc:sldMkLst>
        <pc:spChg chg="mod">
          <ac:chgData name="Meyer Raphael (PAR-ES)" userId="79615dfe-ed48-4e74-a40f-4f7b034c1c27" providerId="ADAL" clId="{ADB5BE36-76E7-4528-A0DC-EC31C0774D59}" dt="2022-02-22T13:37:39.093" v="2" actId="20577"/>
          <ac:spMkLst>
            <pc:docMk/>
            <pc:sldMk cId="3294247987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37:56.979" v="3"/>
          <ac:spMkLst>
            <pc:docMk/>
            <pc:sldMk cId="3294247987" sldId="409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38:21.019" v="16" actId="20577"/>
          <ac:spMkLst>
            <pc:docMk/>
            <pc:sldMk cId="3294247987" sldId="409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0:11.159" v="25" actId="20577"/>
          <ac:spMkLst>
            <pc:docMk/>
            <pc:sldMk cId="3294247987" sldId="409"/>
            <ac:spMk id="10" creationId="{688053B1-3C6B-44C3-87A2-469CA7CF834F}"/>
          </ac:spMkLst>
        </pc:spChg>
      </pc:sldChg>
      <pc:sldChg chg="modSp mod">
        <pc:chgData name="Meyer Raphael (PAR-ES)" userId="79615dfe-ed48-4e74-a40f-4f7b034c1c27" providerId="ADAL" clId="{ADB5BE36-76E7-4528-A0DC-EC31C0774D59}" dt="2022-02-22T13:41:57.468" v="49" actId="27918"/>
        <pc:sldMkLst>
          <pc:docMk/>
          <pc:sldMk cId="2032574650" sldId="410"/>
        </pc:sldMkLst>
        <pc:spChg chg="mod">
          <ac:chgData name="Meyer Raphael (PAR-ES)" userId="79615dfe-ed48-4e74-a40f-4f7b034c1c27" providerId="ADAL" clId="{ADB5BE36-76E7-4528-A0DC-EC31C0774D59}" dt="2022-02-22T13:41:06.044" v="29" actId="20577"/>
          <ac:spMkLst>
            <pc:docMk/>
            <pc:sldMk cId="2032574650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40:51.373" v="27"/>
          <ac:spMkLst>
            <pc:docMk/>
            <pc:sldMk cId="2032574650" sldId="410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41:22.800" v="40" actId="20577"/>
          <ac:spMkLst>
            <pc:docMk/>
            <pc:sldMk cId="2032574650" sldId="410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1:29.392" v="46" actId="20577"/>
          <ac:spMkLst>
            <pc:docMk/>
            <pc:sldMk cId="2032574650" sldId="410"/>
            <ac:spMk id="10" creationId="{688053B1-3C6B-44C3-87A2-469CA7CF834F}"/>
          </ac:spMkLst>
        </pc:sp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4FAD5D3-FB33-4007-98A7-71F9682AE523}"/>
    <pc:docChg chg="delSld">
      <pc:chgData name="Meyer Raphael (PAR-ES)" userId="79615dfe-ed48-4e74-a40f-4f7b034c1c27" providerId="ADAL" clId="{64FAD5D3-FB33-4007-98A7-71F9682AE523}" dt="2022-03-03T14:27:47.322" v="0" actId="47"/>
      <pc:docMkLst>
        <pc:docMk/>
      </pc:docMkLst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2168600751" sldId="409"/>
        </pc:sldMkLst>
      </pc:sldChg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1409086300" sldId="410"/>
        </pc:sldMkLst>
      </pc:sldChg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589059623" sldId="411"/>
        </pc:sldMkLst>
      </pc:sldChg>
    </pc:docChg>
  </pc:docChgLst>
  <pc:docChgLst>
    <pc:chgData name="Weigel Stefan (PAR-EPS)" userId="fd3b2067-2981-4ad8-bf3a-d2e1004e4fa8" providerId="ADAL" clId="{324483E1-FC4A-43F7-AB7F-B9239967F57E}"/>
    <pc:docChg chg="modSld">
      <pc:chgData name="Weigel Stefan (PAR-EPS)" userId="fd3b2067-2981-4ad8-bf3a-d2e1004e4fa8" providerId="ADAL" clId="{324483E1-FC4A-43F7-AB7F-B9239967F57E}" dt="2024-02-16T13:01:01.650" v="20" actId="207"/>
      <pc:docMkLst>
        <pc:docMk/>
      </pc:docMkLst>
      <pc:sldChg chg="modSp mod">
        <pc:chgData name="Weigel Stefan (PAR-EPS)" userId="fd3b2067-2981-4ad8-bf3a-d2e1004e4fa8" providerId="ADAL" clId="{324483E1-FC4A-43F7-AB7F-B9239967F57E}" dt="2024-02-16T13:01:01.650" v="20" actId="207"/>
        <pc:sldMkLst>
          <pc:docMk/>
          <pc:sldMk cId="3456803715" sldId="416"/>
        </pc:sldMkLst>
        <pc:graphicFrameChg chg="mod">
          <ac:chgData name="Weigel Stefan (PAR-EPS)" userId="fd3b2067-2981-4ad8-bf3a-d2e1004e4fa8" providerId="ADAL" clId="{324483E1-FC4A-43F7-AB7F-B9239967F57E}" dt="2024-02-16T13:01:01.650" v="20" actId="207"/>
          <ac:graphicFrameMkLst>
            <pc:docMk/>
            <pc:sldMk cId="3456803715" sldId="41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7E141BE9-9136-4D1B-8CD0-038A1A8600C9}"/>
    <pc:docChg chg="addSld delSld modSld">
      <pc:chgData name="Meyer Raphael (PAR-ES)" userId="79615dfe-ed48-4e74-a40f-4f7b034c1c27" providerId="ADAL" clId="{7E141BE9-9136-4D1B-8CD0-038A1A8600C9}" dt="2022-02-21T13:13:55.626" v="11" actId="2890"/>
      <pc:docMkLst>
        <pc:docMk/>
      </pc:docMkLst>
      <pc:sldChg chg="modSp del mod">
        <pc:chgData name="Meyer Raphael (PAR-ES)" userId="79615dfe-ed48-4e74-a40f-4f7b034c1c27" providerId="ADAL" clId="{7E141BE9-9136-4D1B-8CD0-038A1A8600C9}" dt="2022-02-21T13:13:12.852" v="2" actId="47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7E141BE9-9136-4D1B-8CD0-038A1A8600C9}" dt="2022-02-21T12:49:02.619" v="1" actId="1076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7E141BE9-9136-4D1B-8CD0-038A1A8600C9}" dt="2022-02-21T13:13:43.702" v="7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7E141BE9-9136-4D1B-8CD0-038A1A8600C9}" dt="2022-02-21T13:13:43.702" v="7" actId="20577"/>
          <ac:spMkLst>
            <pc:docMk/>
            <pc:sldMk cId="2624746743" sldId="403"/>
            <ac:spMk id="2" creationId="{00000000-0000-0000-0000-000000000000}"/>
          </ac:spMkLst>
        </pc:spChg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1954296201" sldId="404"/>
        </pc:sldMkLst>
      </pc:sldChg>
      <pc:sldChg chg="del">
        <pc:chgData name="Meyer Raphael (PAR-ES)" userId="79615dfe-ed48-4e74-a40f-4f7b034c1c27" providerId="ADAL" clId="{7E141BE9-9136-4D1B-8CD0-038A1A8600C9}" dt="2022-02-21T12:48:48.760" v="0" actId="47"/>
        <pc:sldMkLst>
          <pc:docMk/>
          <pc:sldMk cId="2102945685" sldId="404"/>
        </pc:sldMkLst>
      </pc:sldChg>
      <pc:sldChg chg="add">
        <pc:chgData name="Meyer Raphael (PAR-ES)" userId="79615dfe-ed48-4e74-a40f-4f7b034c1c27" providerId="ADAL" clId="{7E141BE9-9136-4D1B-8CD0-038A1A8600C9}" dt="2022-02-21T13:13:53.686" v="9" actId="2890"/>
        <pc:sldMkLst>
          <pc:docMk/>
          <pc:sldMk cId="4185400525" sldId="404"/>
        </pc:sldMkLst>
      </pc:sldChg>
      <pc:sldChg chg="add">
        <pc:chgData name="Meyer Raphael (PAR-ES)" userId="79615dfe-ed48-4e74-a40f-4f7b034c1c27" providerId="ADAL" clId="{7E141BE9-9136-4D1B-8CD0-038A1A8600C9}" dt="2022-02-21T13:13:54.869" v="10" actId="2890"/>
        <pc:sldMkLst>
          <pc:docMk/>
          <pc:sldMk cId="2617506047" sldId="405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4005933681" sldId="405"/>
        </pc:sldMkLst>
      </pc:sldChg>
      <pc:sldChg chg="add">
        <pc:chgData name="Meyer Raphael (PAR-ES)" userId="79615dfe-ed48-4e74-a40f-4f7b034c1c27" providerId="ADAL" clId="{7E141BE9-9136-4D1B-8CD0-038A1A8600C9}" dt="2022-02-21T13:13:55.626" v="11" actId="2890"/>
        <pc:sldMkLst>
          <pc:docMk/>
          <pc:sldMk cId="943556213" sldId="406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3868929230" sldId="406"/>
        </pc:sldMkLst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E1166BF-094D-4C5D-934C-3C12DB15ADFC}"/>
    <pc:docChg chg="delSld">
      <pc:chgData name="Meyer Raphael (PAR-ES)" userId="79615dfe-ed48-4e74-a40f-4f7b034c1c27" providerId="ADAL" clId="{3E1166BF-094D-4C5D-934C-3C12DB15ADFC}" dt="2022-02-21T13:31:36.898" v="0" actId="47"/>
      <pc:docMkLst>
        <pc:docMk/>
      </pc:docMkLst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24746743" sldId="403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4185400525" sldId="404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17506047" sldId="405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2AEED41-E137-44EA-8934-B896B264C2ED}"/>
    <pc:docChg chg="custSel addSld delSld modSld sldOrd">
      <pc:chgData name="Meyer Raphael (PAR-ES)" userId="79615dfe-ed48-4e74-a40f-4f7b034c1c27" providerId="ADAL" clId="{12AEED41-E137-44EA-8934-B896B264C2ED}" dt="2022-03-03T14:15:40.014" v="50"/>
      <pc:docMkLst>
        <pc:docMk/>
      </pc:docMkLst>
      <pc:sldChg chg="del">
        <pc:chgData name="Meyer Raphael (PAR-ES)" userId="79615dfe-ed48-4e74-a40f-4f7b034c1c27" providerId="ADAL" clId="{12AEED41-E137-44EA-8934-B896B264C2ED}" dt="2022-03-03T14:09:16.096" v="1" actId="47"/>
        <pc:sldMkLst>
          <pc:docMk/>
          <pc:sldMk cId="3808035539" sldId="270"/>
        </pc:sldMkLst>
      </pc:sldChg>
      <pc:sldChg chg="modSp">
        <pc:chgData name="Meyer Raphael (PAR-ES)" userId="79615dfe-ed48-4e74-a40f-4f7b034c1c27" providerId="ADAL" clId="{12AEED41-E137-44EA-8934-B896B264C2ED}" dt="2022-03-03T14:08:34.089" v="0"/>
        <pc:sldMkLst>
          <pc:docMk/>
          <pc:sldMk cId="2820921500" sldId="408"/>
        </pc:sldMkLst>
        <pc:graphicFrameChg chg="mod">
          <ac:chgData name="Meyer Raphael (PAR-ES)" userId="79615dfe-ed48-4e74-a40f-4f7b034c1c27" providerId="ADAL" clId="{12AEED41-E137-44EA-8934-B896B264C2ED}" dt="2022-03-03T14:08:34.089" v="0"/>
          <ac:graphicFrameMkLst>
            <pc:docMk/>
            <pc:sldMk cId="2820921500" sldId="408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12AEED41-E137-44EA-8934-B896B264C2ED}" dt="2022-03-03T14:13:34.648" v="35"/>
        <pc:sldMkLst>
          <pc:docMk/>
          <pc:sldMk cId="2168600751" sldId="409"/>
        </pc:sldMkLst>
        <pc:spChg chg="mod">
          <ac:chgData name="Meyer Raphael (PAR-ES)" userId="79615dfe-ed48-4e74-a40f-4f7b034c1c27" providerId="ADAL" clId="{12AEED41-E137-44EA-8934-B896B264C2ED}" dt="2022-03-03T14:12:44.569" v="20"/>
          <ac:spMkLst>
            <pc:docMk/>
            <pc:sldMk cId="2168600751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AEED41-E137-44EA-8934-B896B264C2ED}" dt="2022-03-03T14:12:50.797" v="26" actId="20577"/>
          <ac:spMkLst>
            <pc:docMk/>
            <pc:sldMk cId="2168600751" sldId="409"/>
            <ac:spMk id="7" creationId="{586F29B4-427F-4C02-96A8-38F75F539446}"/>
          </ac:spMkLst>
        </pc:spChg>
        <pc:graphicFrameChg chg="mod">
          <ac:chgData name="Meyer Raphael (PAR-ES)" userId="79615dfe-ed48-4e74-a40f-4f7b034c1c27" providerId="ADAL" clId="{12AEED41-E137-44EA-8934-B896B264C2ED}" dt="2022-03-03T14:13:34.648" v="35"/>
          <ac:graphicFrameMkLst>
            <pc:docMk/>
            <pc:sldMk cId="2168600751" sldId="409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12AEED41-E137-44EA-8934-B896B264C2ED}" dt="2022-03-03T14:15:40.014" v="50"/>
        <pc:sldMkLst>
          <pc:docMk/>
          <pc:sldMk cId="1409086300" sldId="410"/>
        </pc:sldMkLst>
        <pc:spChg chg="mod">
          <ac:chgData name="Meyer Raphael (PAR-ES)" userId="79615dfe-ed48-4e74-a40f-4f7b034c1c27" providerId="ADAL" clId="{12AEED41-E137-44EA-8934-B896B264C2ED}" dt="2022-03-03T14:14:35.159" v="41"/>
          <ac:spMkLst>
            <pc:docMk/>
            <pc:sldMk cId="1409086300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AEED41-E137-44EA-8934-B896B264C2ED}" dt="2022-03-03T14:14:11.923" v="40" actId="20577"/>
          <ac:spMkLst>
            <pc:docMk/>
            <pc:sldMk cId="1409086300" sldId="410"/>
            <ac:spMk id="7" creationId="{586F29B4-427F-4C02-96A8-38F75F539446}"/>
          </ac:spMkLst>
        </pc:spChg>
        <pc:graphicFrameChg chg="mod">
          <ac:chgData name="Meyer Raphael (PAR-ES)" userId="79615dfe-ed48-4e74-a40f-4f7b034c1c27" providerId="ADAL" clId="{12AEED41-E137-44EA-8934-B896B264C2ED}" dt="2022-03-03T14:15:40.014" v="50"/>
          <ac:graphicFrameMkLst>
            <pc:docMk/>
            <pc:sldMk cId="1409086300" sldId="410"/>
            <ac:graphicFrameMk id="9" creationId="{00000000-0000-0000-0000-000000000000}"/>
          </ac:graphicFrameMkLst>
        </pc:graphicFrameChg>
      </pc:sldChg>
      <pc:sldChg chg="modSp add mod ord">
        <pc:chgData name="Meyer Raphael (PAR-ES)" userId="79615dfe-ed48-4e74-a40f-4f7b034c1c27" providerId="ADAL" clId="{12AEED41-E137-44EA-8934-B896B264C2ED}" dt="2022-03-03T14:11:59.515" v="19"/>
        <pc:sldMkLst>
          <pc:docMk/>
          <pc:sldMk cId="589059623" sldId="411"/>
        </pc:sldMkLst>
        <pc:spChg chg="mod">
          <ac:chgData name="Meyer Raphael (PAR-ES)" userId="79615dfe-ed48-4e74-a40f-4f7b034c1c27" providerId="ADAL" clId="{12AEED41-E137-44EA-8934-B896B264C2ED}" dt="2022-03-03T14:09:58.172" v="6" actId="6549"/>
          <ac:spMkLst>
            <pc:docMk/>
            <pc:sldMk cId="589059623" sldId="411"/>
            <ac:spMk id="2" creationId="{00000000-0000-0000-0000-000000000000}"/>
          </ac:spMkLst>
        </pc:spChg>
        <pc:graphicFrameChg chg="mod">
          <ac:chgData name="Meyer Raphael (PAR-ES)" userId="79615dfe-ed48-4e74-a40f-4f7b034c1c27" providerId="ADAL" clId="{12AEED41-E137-44EA-8934-B896B264C2ED}" dt="2022-03-03T14:11:59.515" v="19"/>
          <ac:graphicFrameMkLst>
            <pc:docMk/>
            <pc:sldMk cId="589059623" sldId="411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5AEFCCC8-328D-40A6-804A-370FCBB7F8C4}"/>
    <pc:docChg chg="modSld">
      <pc:chgData name="Meyer Raphael (PAR-ES)" userId="79615dfe-ed48-4e74-a40f-4f7b034c1c27" providerId="ADAL" clId="{5AEFCCC8-328D-40A6-804A-370FCBB7F8C4}" dt="2022-03-09T16:27:49.507" v="0" actId="692"/>
      <pc:docMkLst>
        <pc:docMk/>
      </pc:docMkLst>
      <pc:sldChg chg="modSp">
        <pc:chgData name="Meyer Raphael (PAR-ES)" userId="79615dfe-ed48-4e74-a40f-4f7b034c1c27" providerId="ADAL" clId="{5AEFCCC8-328D-40A6-804A-370FCBB7F8C4}" dt="2022-03-09T16:27:49.507" v="0" actId="692"/>
        <pc:sldMkLst>
          <pc:docMk/>
          <pc:sldMk cId="2820921500" sldId="408"/>
        </pc:sldMkLst>
        <pc:graphicFrameChg chg="mod">
          <ac:chgData name="Meyer Raphael (PAR-ES)" userId="79615dfe-ed48-4e74-a40f-4f7b034c1c27" providerId="ADAL" clId="{5AEFCCC8-328D-40A6-804A-370FCBB7F8C4}" dt="2022-03-09T16:27:49.507" v="0" actId="692"/>
          <ac:graphicFrameMkLst>
            <pc:docMk/>
            <pc:sldMk cId="2820921500" sldId="408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Weigel Stefan (PAR-EPS)" userId="fd3b2067-2981-4ad8-bf3a-d2e1004e4fa8" providerId="ADAL" clId="{E236DE81-E3AE-47A8-9867-0C89040077CE}"/>
    <pc:docChg chg="modSld">
      <pc:chgData name="Weigel Stefan (PAR-EPS)" userId="fd3b2067-2981-4ad8-bf3a-d2e1004e4fa8" providerId="ADAL" clId="{E236DE81-E3AE-47A8-9867-0C89040077CE}" dt="2024-02-16T13:03:10.383" v="9" actId="790"/>
      <pc:docMkLst>
        <pc:docMk/>
      </pc:docMkLst>
      <pc:sldChg chg="modSp mod">
        <pc:chgData name="Weigel Stefan (PAR-EPS)" userId="fd3b2067-2981-4ad8-bf3a-d2e1004e4fa8" providerId="ADAL" clId="{E236DE81-E3AE-47A8-9867-0C89040077CE}" dt="2024-02-16T13:03:10.383" v="9" actId="790"/>
        <pc:sldMkLst>
          <pc:docMk/>
          <pc:sldMk cId="3456803715" sldId="416"/>
        </pc:sldMkLst>
        <pc:spChg chg="mod">
          <ac:chgData name="Weigel Stefan (PAR-EPS)" userId="fd3b2067-2981-4ad8-bf3a-d2e1004e4fa8" providerId="ADAL" clId="{E236DE81-E3AE-47A8-9867-0C89040077CE}" dt="2024-02-16T13:03:10.383" v="9" actId="790"/>
          <ac:spMkLst>
            <pc:docMk/>
            <pc:sldMk cId="3456803715" sldId="416"/>
            <ac:spMk id="10" creationId="{A572A723-7466-42C5-BC49-15C6E380BE11}"/>
          </ac:spMkLst>
        </pc:spChg>
      </pc:sldChg>
    </pc:docChg>
  </pc:docChgLst>
  <pc:docChgLst>
    <pc:chgData name="Meyer Raphael (PAR-ES)" userId="79615dfe-ed48-4e74-a40f-4f7b034c1c27" providerId="ADAL" clId="{DC91381E-864F-40AA-BEAC-05CB62171E30}"/>
    <pc:docChg chg="modSld">
      <pc:chgData name="Meyer Raphael (PAR-ES)" userId="79615dfe-ed48-4e74-a40f-4f7b034c1c27" providerId="ADAL" clId="{DC91381E-864F-40AA-BEAC-05CB62171E30}" dt="2022-02-21T13:25:42.447" v="74"/>
      <pc:docMkLst>
        <pc:docMk/>
      </pc:docMkLst>
      <pc:sldChg chg="modSp mod">
        <pc:chgData name="Meyer Raphael (PAR-ES)" userId="79615dfe-ed48-4e74-a40f-4f7b034c1c27" providerId="ADAL" clId="{DC91381E-864F-40AA-BEAC-05CB62171E30}" dt="2022-02-21T13:19:21.727" v="20"/>
        <pc:sldMkLst>
          <pc:docMk/>
          <pc:sldMk cId="4185400525" sldId="404"/>
        </pc:sldMkLst>
        <pc:spChg chg="mod">
          <ac:chgData name="Meyer Raphael (PAR-ES)" userId="79615dfe-ed48-4e74-a40f-4f7b034c1c27" providerId="ADAL" clId="{DC91381E-864F-40AA-BEAC-05CB62171E30}" dt="2022-02-21T13:17:14.648" v="2" actId="20577"/>
          <ac:spMkLst>
            <pc:docMk/>
            <pc:sldMk cId="418540052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25.384" v="3"/>
          <ac:spMkLst>
            <pc:docMk/>
            <pc:sldMk cId="4185400525" sldId="404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34.759" v="4"/>
          <ac:spMkLst>
            <pc:docMk/>
            <pc:sldMk cId="4185400525" sldId="404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9:21.727" v="20"/>
          <ac:spMkLst>
            <pc:docMk/>
            <pc:sldMk cId="4185400525" sldId="404"/>
            <ac:spMk id="11" creationId="{651B01CC-189F-4F80-9403-B5172C1D5545}"/>
          </ac:spMkLst>
        </pc:spChg>
        <pc:graphicFrameChg chg="mod">
          <ac:chgData name="Meyer Raphael (PAR-ES)" userId="79615dfe-ed48-4e74-a40f-4f7b034c1c27" providerId="ADAL" clId="{DC91381E-864F-40AA-BEAC-05CB62171E30}" dt="2022-02-21T13:18:50.349" v="19"/>
          <ac:graphicFrameMkLst>
            <pc:docMk/>
            <pc:sldMk cId="4185400525" sldId="404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18:28.792" v="14"/>
          <ac:graphicFrameMkLst>
            <pc:docMk/>
            <pc:sldMk cId="4185400525" sldId="404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3:07.829" v="51"/>
        <pc:sldMkLst>
          <pc:docMk/>
          <pc:sldMk cId="2617506047" sldId="405"/>
        </pc:sldMkLst>
        <pc:spChg chg="mod">
          <ac:chgData name="Meyer Raphael (PAR-ES)" userId="79615dfe-ed48-4e74-a40f-4f7b034c1c27" providerId="ADAL" clId="{DC91381E-864F-40AA-BEAC-05CB62171E30}" dt="2022-02-21T13:20:20.500" v="23" actId="20577"/>
          <ac:spMkLst>
            <pc:docMk/>
            <pc:sldMk cId="2617506047" sldId="40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29.812" v="24"/>
          <ac:spMkLst>
            <pc:docMk/>
            <pc:sldMk cId="2617506047" sldId="40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39.685" v="25"/>
          <ac:spMkLst>
            <pc:docMk/>
            <pc:sldMk cId="2617506047" sldId="405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3:07.829" v="51"/>
          <ac:spMkLst>
            <pc:docMk/>
            <pc:sldMk cId="2617506047" sldId="405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0:48.737" v="31" actId="20577"/>
          <ac:spMkLst>
            <pc:docMk/>
            <pc:sldMk cId="2617506047" sldId="405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2:34.826" v="47"/>
          <ac:graphicFrameMkLst>
            <pc:docMk/>
            <pc:sldMk cId="2617506047" sldId="405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2:44.839" v="50"/>
          <ac:graphicFrameMkLst>
            <pc:docMk/>
            <pc:sldMk cId="2617506047" sldId="405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5:42.447" v="74"/>
        <pc:sldMkLst>
          <pc:docMk/>
          <pc:sldMk cId="943556213" sldId="406"/>
        </pc:sldMkLst>
        <pc:spChg chg="mod">
          <ac:chgData name="Meyer Raphael (PAR-ES)" userId="79615dfe-ed48-4e74-a40f-4f7b034c1c27" providerId="ADAL" clId="{DC91381E-864F-40AA-BEAC-05CB62171E30}" dt="2022-02-21T13:24:14.470" v="54" actId="20577"/>
          <ac:spMkLst>
            <pc:docMk/>
            <pc:sldMk cId="943556213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24.391" v="55"/>
          <ac:spMkLst>
            <pc:docMk/>
            <pc:sldMk cId="943556213" sldId="40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32.772" v="56"/>
          <ac:spMkLst>
            <pc:docMk/>
            <pc:sldMk cId="943556213" sldId="406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5:33.433" v="72"/>
          <ac:spMkLst>
            <pc:docMk/>
            <pc:sldMk cId="943556213" sldId="406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5:07.644" v="68" actId="20577"/>
          <ac:spMkLst>
            <pc:docMk/>
            <pc:sldMk cId="943556213" sldId="406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5:42.447" v="74"/>
          <ac:graphicFrameMkLst>
            <pc:docMk/>
            <pc:sldMk cId="943556213" sldId="406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5:00.885" v="62"/>
          <ac:graphicFrameMkLst>
            <pc:docMk/>
            <pc:sldMk cId="943556213" sldId="40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5F5B9A8E-DEB1-4CAC-AF4B-1DB41DF456A3}"/>
    <pc:docChg chg="modSld">
      <pc:chgData name="Meyer Raphael (PAR-ES)" userId="79615dfe-ed48-4e74-a40f-4f7b034c1c27" providerId="ADAL" clId="{5F5B9A8E-DEB1-4CAC-AF4B-1DB41DF456A3}" dt="2023-02-23T10:04:18.731" v="3" actId="27918"/>
      <pc:docMkLst>
        <pc:docMk/>
      </pc:docMkLst>
      <pc:sldChg chg="mod">
        <pc:chgData name="Meyer Raphael (PAR-ES)" userId="79615dfe-ed48-4e74-a40f-4f7b034c1c27" providerId="ADAL" clId="{5F5B9A8E-DEB1-4CAC-AF4B-1DB41DF456A3}" dt="2023-02-23T10:04:18.731" v="3" actId="27918"/>
        <pc:sldMkLst>
          <pc:docMk/>
          <pc:sldMk cId="3456803715" sldId="416"/>
        </pc:sldMkLst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1A5B2EA-2907-4898-8BAD-7161CA34B4C3}"/>
    <pc:docChg chg="undo custSel modSld">
      <pc:chgData name="Meyer Raphael (PAR-ES)" userId="79615dfe-ed48-4e74-a40f-4f7b034c1c27" providerId="ADAL" clId="{41A5B2EA-2907-4898-8BAD-7161CA34B4C3}" dt="2022-03-03T13:54:34.303" v="122" actId="20577"/>
      <pc:docMkLst>
        <pc:docMk/>
      </pc:docMkLst>
      <pc:sldChg chg="modSp mod">
        <pc:chgData name="Meyer Raphael (PAR-ES)" userId="79615dfe-ed48-4e74-a40f-4f7b034c1c27" providerId="ADAL" clId="{41A5B2EA-2907-4898-8BAD-7161CA34B4C3}" dt="2022-03-03T13:51:34.741" v="61"/>
        <pc:sldMkLst>
          <pc:docMk/>
          <pc:sldMk cId="421447817" sldId="271"/>
        </pc:sldMkLst>
        <pc:spChg chg="mod">
          <ac:chgData name="Meyer Raphael (PAR-ES)" userId="79615dfe-ed48-4e74-a40f-4f7b034c1c27" providerId="ADAL" clId="{41A5B2EA-2907-4898-8BAD-7161CA34B4C3}" dt="2022-03-03T13:51:34.741" v="61"/>
          <ac:spMkLst>
            <pc:docMk/>
            <pc:sldMk cId="421447817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1:33.039" v="58" actId="1036"/>
          <ac:spMkLst>
            <pc:docMk/>
            <pc:sldMk cId="421447817" sldId="271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48:37.964" v="17" actId="20577"/>
          <ac:spMkLst>
            <pc:docMk/>
            <pc:sldMk cId="421447817" sldId="271"/>
            <ac:spMk id="12" creationId="{5951AA1F-1F78-4199-A377-9885C86C21AF}"/>
          </ac:spMkLst>
        </pc:spChg>
      </pc:sldChg>
      <pc:sldChg chg="modSp mod">
        <pc:chgData name="Meyer Raphael (PAR-ES)" userId="79615dfe-ed48-4e74-a40f-4f7b034c1c27" providerId="ADAL" clId="{41A5B2EA-2907-4898-8BAD-7161CA34B4C3}" dt="2022-03-03T13:52:57.702" v="104" actId="20577"/>
        <pc:sldMkLst>
          <pc:docMk/>
          <pc:sldMk cId="1823063743" sldId="272"/>
        </pc:sldMkLst>
        <pc:spChg chg="mod">
          <ac:chgData name="Meyer Raphael (PAR-ES)" userId="79615dfe-ed48-4e74-a40f-4f7b034c1c27" providerId="ADAL" clId="{41A5B2EA-2907-4898-8BAD-7161CA34B4C3}" dt="2022-03-03T13:51:50.163" v="66" actId="20577"/>
          <ac:spMkLst>
            <pc:docMk/>
            <pc:sldMk cId="1823063743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2:24.458" v="90" actId="14100"/>
          <ac:spMkLst>
            <pc:docMk/>
            <pc:sldMk cId="1823063743" sldId="272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52:52.795" v="98" actId="20577"/>
          <ac:spMkLst>
            <pc:docMk/>
            <pc:sldMk cId="1823063743" sldId="272"/>
            <ac:spMk id="12" creationId="{5951AA1F-1F78-4199-A377-9885C86C21AF}"/>
          </ac:spMkLst>
        </pc:spChg>
        <pc:spChg chg="mod">
          <ac:chgData name="Meyer Raphael (PAR-ES)" userId="79615dfe-ed48-4e74-a40f-4f7b034c1c27" providerId="ADAL" clId="{41A5B2EA-2907-4898-8BAD-7161CA34B4C3}" dt="2022-03-03T13:52:57.702" v="104" actId="20577"/>
          <ac:spMkLst>
            <pc:docMk/>
            <pc:sldMk cId="1823063743" sldId="272"/>
            <ac:spMk id="13" creationId="{529F12DD-D362-4327-A51F-7014752CAD03}"/>
          </ac:spMkLst>
        </pc:spChg>
      </pc:sldChg>
      <pc:sldChg chg="modSp mod">
        <pc:chgData name="Meyer Raphael (PAR-ES)" userId="79615dfe-ed48-4e74-a40f-4f7b034c1c27" providerId="ADAL" clId="{41A5B2EA-2907-4898-8BAD-7161CA34B4C3}" dt="2022-03-03T13:54:34.303" v="122" actId="20577"/>
        <pc:sldMkLst>
          <pc:docMk/>
          <pc:sldMk cId="3044751883" sldId="273"/>
        </pc:sldMkLst>
        <pc:spChg chg="mod">
          <ac:chgData name="Meyer Raphael (PAR-ES)" userId="79615dfe-ed48-4e74-a40f-4f7b034c1c27" providerId="ADAL" clId="{41A5B2EA-2907-4898-8BAD-7161CA34B4C3}" dt="2022-03-03T13:53:58.616" v="109" actId="20577"/>
          <ac:spMkLst>
            <pc:docMk/>
            <pc:sldMk cId="3044751883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4:11.854" v="110"/>
          <ac:spMkLst>
            <pc:docMk/>
            <pc:sldMk cId="3044751883" sldId="273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54:25.352" v="116" actId="20577"/>
          <ac:spMkLst>
            <pc:docMk/>
            <pc:sldMk cId="3044751883" sldId="273"/>
            <ac:spMk id="12" creationId="{5951AA1F-1F78-4199-A377-9885C86C21AF}"/>
          </ac:spMkLst>
        </pc:spChg>
        <pc:spChg chg="mod">
          <ac:chgData name="Meyer Raphael (PAR-ES)" userId="79615dfe-ed48-4e74-a40f-4f7b034c1c27" providerId="ADAL" clId="{41A5B2EA-2907-4898-8BAD-7161CA34B4C3}" dt="2022-03-03T13:54:34.303" v="122" actId="20577"/>
          <ac:spMkLst>
            <pc:docMk/>
            <pc:sldMk cId="3044751883" sldId="273"/>
            <ac:spMk id="13" creationId="{529F12DD-D362-4327-A51F-7014752CAD03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59F3F2DD-0AA0-41E9-9702-E67125B6C64F}"/>
    <pc:docChg chg="delSld">
      <pc:chgData name="Meyer Raphael (PAR-ES)" userId="79615dfe-ed48-4e74-a40f-4f7b034c1c27" providerId="ADAL" clId="{59F3F2DD-0AA0-41E9-9702-E67125B6C64F}" dt="2022-03-03T14:01:24.929" v="0" actId="47"/>
      <pc:docMkLst>
        <pc:docMk/>
      </pc:docMkLst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421447817" sldId="271"/>
        </pc:sldMkLst>
      </pc:sldChg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1823063743" sldId="272"/>
        </pc:sldMkLst>
      </pc:sldChg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3044751883" sldId="273"/>
        </pc:sldMkLst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456786685127615"/>
          <c:y val="0.18742045310066358"/>
          <c:w val="0.78283241953320737"/>
          <c:h val="0.563518288471916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Industrial waste</c:v>
                </c:pt>
              </c:strCache>
            </c:strRef>
          </c:tx>
          <c:spPr>
            <a:solidFill>
              <a:srgbClr val="BDBDBD"/>
            </a:solidFill>
          </c:spPr>
          <c:invertIfNegative val="0"/>
          <c:dPt>
            <c:idx val="5"/>
            <c:invertIfNegative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4-C72B-4BA0-8443-87E2E877262E}"/>
              </c:ext>
            </c:extLst>
          </c:dPt>
          <c:dPt>
            <c:idx val="10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1-B853-422A-9B9D-A6EAA6FFB23D}"/>
              </c:ext>
            </c:extLst>
          </c:dPt>
          <c:cat>
            <c:numRef>
              <c:f>data!$B$9:$B$14</c:f>
              <c:numCache>
                <c:formatCode>General</c:formatCode>
                <c:ptCount val="6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</c:numCache>
            </c:numRef>
          </c:cat>
          <c:val>
            <c:numRef>
              <c:f>data!$C$9:$C$14</c:f>
              <c:numCache>
                <c:formatCode>#,##0</c:formatCode>
                <c:ptCount val="6"/>
                <c:pt idx="0">
                  <c:v>320418.799</c:v>
                </c:pt>
                <c:pt idx="1">
                  <c:v>339401.97684999998</c:v>
                </c:pt>
                <c:pt idx="2">
                  <c:v>254124.40539999999</c:v>
                </c:pt>
                <c:pt idx="3">
                  <c:v>243275.29694999999</c:v>
                </c:pt>
                <c:pt idx="4">
                  <c:v>266171.19491999998</c:v>
                </c:pt>
                <c:pt idx="5">
                  <c:v>250255.428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853-422A-9B9D-A6EAA6FFB23D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Hazardous wastes</c:v>
                </c:pt>
              </c:strCache>
            </c:strRef>
          </c:tx>
          <c:spPr>
            <a:solidFill>
              <a:srgbClr val="A8A8A8"/>
            </a:solidFill>
          </c:spPr>
          <c:invertIfNegative val="0"/>
          <c:dPt>
            <c:idx val="5"/>
            <c:invertIfNegative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3-C72B-4BA0-8443-87E2E877262E}"/>
              </c:ext>
            </c:extLst>
          </c:dPt>
          <c:cat>
            <c:numRef>
              <c:f>data!$B$9:$B$14</c:f>
              <c:numCache>
                <c:formatCode>General</c:formatCode>
                <c:ptCount val="6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</c:numCache>
            </c:numRef>
          </c:cat>
          <c:val>
            <c:numRef>
              <c:f>data!$D$9:$D$14</c:f>
              <c:numCache>
                <c:formatCode>#,##0.0</c:formatCode>
                <c:ptCount val="6"/>
                <c:pt idx="0">
                  <c:v>44634.091710000001</c:v>
                </c:pt>
                <c:pt idx="1">
                  <c:v>45938.622710000003</c:v>
                </c:pt>
                <c:pt idx="2">
                  <c:v>30624.81639</c:v>
                </c:pt>
                <c:pt idx="3">
                  <c:v>49746.428</c:v>
                </c:pt>
                <c:pt idx="4">
                  <c:v>65978.769</c:v>
                </c:pt>
                <c:pt idx="5">
                  <c:v>57611.51815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853-422A-9B9D-A6EAA6FFB23D}"/>
            </c:ext>
          </c:extLst>
        </c:ser>
        <c:ser>
          <c:idx val="2"/>
          <c:order val="2"/>
          <c:tx>
            <c:strRef>
              <c:f>data!$E$8</c:f>
              <c:strCache>
                <c:ptCount val="1"/>
                <c:pt idx="0">
                  <c:v>Public refuse</c:v>
                </c:pt>
              </c:strCache>
            </c:strRef>
          </c:tx>
          <c:spPr>
            <a:solidFill>
              <a:srgbClr val="8D8D8D"/>
            </a:solidFill>
          </c:spPr>
          <c:invertIfNegative val="0"/>
          <c:dPt>
            <c:idx val="5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C72B-4BA0-8443-87E2E877262E}"/>
              </c:ext>
            </c:extLst>
          </c:dPt>
          <c:cat>
            <c:numRef>
              <c:f>data!$B$9:$B$14</c:f>
              <c:numCache>
                <c:formatCode>General</c:formatCode>
                <c:ptCount val="6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</c:numCache>
            </c:numRef>
          </c:cat>
          <c:val>
            <c:numRef>
              <c:f>data!$E$9:$E$14</c:f>
              <c:numCache>
                <c:formatCode>#,##0.0</c:formatCode>
                <c:ptCount val="6"/>
                <c:pt idx="0">
                  <c:v>11862.727999999999</c:v>
                </c:pt>
                <c:pt idx="1">
                  <c:v>12866.288</c:v>
                </c:pt>
                <c:pt idx="2">
                  <c:v>9617.0888000000105</c:v>
                </c:pt>
                <c:pt idx="3">
                  <c:v>10088.013800000001</c:v>
                </c:pt>
                <c:pt idx="4">
                  <c:v>10641.22848</c:v>
                </c:pt>
                <c:pt idx="5">
                  <c:v>10834.1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853-422A-9B9D-A6EAA6FFB2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6041216"/>
        <c:axId val="96043008"/>
      </c:barChart>
      <c:catAx>
        <c:axId val="96041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900"/>
            </a:pPr>
            <a:endParaRPr lang="de-DE"/>
          </a:p>
        </c:txPr>
        <c:crossAx val="96043008"/>
        <c:crosses val="autoZero"/>
        <c:auto val="1"/>
        <c:lblAlgn val="ctr"/>
        <c:lblOffset val="100"/>
        <c:noMultiLvlLbl val="0"/>
      </c:catAx>
      <c:valAx>
        <c:axId val="96043008"/>
        <c:scaling>
          <c:orientation val="minMax"/>
          <c:max val="50000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900"/>
            </a:pPr>
            <a:endParaRPr lang="de-DE"/>
          </a:p>
        </c:txPr>
        <c:crossAx val="96041216"/>
        <c:crosses val="autoZero"/>
        <c:crossBetween val="between"/>
        <c:majorUnit val="100000"/>
      </c:valAx>
    </c:plotArea>
    <c:legend>
      <c:legendPos val="b"/>
      <c:layout>
        <c:manualLayout>
          <c:xMode val="edge"/>
          <c:yMode val="edge"/>
          <c:x val="0.16305463046985599"/>
          <c:y val="0.81846637485729923"/>
          <c:w val="0.2835198254294457"/>
          <c:h val="4.1151373043577549E-2"/>
        </c:manualLayout>
      </c:layout>
      <c:overlay val="0"/>
      <c:txPr>
        <a:bodyPr/>
        <a:lstStyle/>
        <a:p>
          <a:pPr>
            <a:defRPr sz="9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125</cdr:x>
      <cdr:y>0.12143</cdr:y>
    </cdr:from>
    <cdr:to>
      <cdr:x>0.18428</cdr:x>
      <cdr:y>0.16169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1244972" y="637023"/>
          <a:ext cx="794260" cy="211203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900" dirty="0"/>
            <a:t>t</a:t>
          </a:r>
          <a:endParaRPr lang="de-CH" sz="90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8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86875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2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316274F-10EE-42B8-9812-7995639350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59" progId="TCLayout.ActiveDocument.1">
                  <p:embed/>
                </p:oleObj>
              </mc:Choice>
              <mc:Fallback>
                <p:oleObj name="think-cell Folie" r:id="rId5" imgW="360" imgH="35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316274F-10EE-42B8-9812-799563935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2CD79D1D-00A8-4538-BA52-D1C8BBD8082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822950651"/>
              </p:ext>
            </p:extLst>
          </p:nvPr>
        </p:nvGraphicFramePr>
        <p:xfrm>
          <a:off x="440514" y="1261472"/>
          <a:ext cx="11066242" cy="52461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A572A723-7466-42C5-BC49-15C6E380BE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</p:spPr>
        <p:txBody>
          <a:bodyPr/>
          <a:lstStyle/>
          <a:p>
            <a:r>
              <a:rPr lang="en-US"/>
              <a:t>Waste materials and refuse.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A4657D7-3337-475E-8E67-E8F468A949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34568037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LGE5CWQXCaS3mOvkoEHA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2f5c8543-cf23-4718-a3b8-32b0a91d511a"/>
    <ds:schemaRef ds:uri="96e82a89-ba48-4728-b345-cf206dbec8f1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89D2B1C-8C3E-4D60-AE89-22F867A2B88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5</Words>
  <Application>Microsoft Office PowerPoint</Application>
  <PresentationFormat>Breitbild</PresentationFormat>
  <Paragraphs>5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Waste materials and refuse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aste materials and refuse.</dc:title>
  <dc:creator>Meyer Raphael (KOM-PGA-VSF)</dc:creator>
  <cp:lastModifiedBy>Stefan Weigel (PAR-EPS)</cp:lastModifiedBy>
  <cp:revision>59</cp:revision>
  <dcterms:created xsi:type="dcterms:W3CDTF">2020-09-30T11:00:09Z</dcterms:created>
  <dcterms:modified xsi:type="dcterms:W3CDTF">2024-02-28T12:40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